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56" r:id="rId3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517A"/>
    <a:srgbClr val="D98C6A"/>
    <a:srgbClr val="E6E6E6"/>
    <a:srgbClr val="C5C5C4"/>
    <a:srgbClr val="F2F2F2"/>
    <a:srgbClr val="C1DB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1903" autoAdjust="0"/>
  </p:normalViewPr>
  <p:slideViewPr>
    <p:cSldViewPr snapToGrid="0">
      <p:cViewPr varScale="1">
        <p:scale>
          <a:sx n="107" d="100"/>
          <a:sy n="107" d="100"/>
        </p:scale>
        <p:origin x="6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notesMaster" Target="notesMasters/notesMaster1.xml"/><Relationship Id="rId9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DA6DCF-0F1F-4DE3-8E84-DE1B6A52EA1D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EEC048-A078-4FF2-92E9-D81A7A2BC8B7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91759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F82F45-47AC-4859-0EA4-172D01BF30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624AB74-F4FF-7530-345E-0FB9019951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96614C-D1DA-EE37-2667-370733D14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AF9C49-6C1F-3979-8EAE-602C61712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F532D-7818-A54B-5CCA-AC199B7F9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330843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FC07BF-AA64-FBDA-F7CB-370539EC2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F03859-280D-DEDD-8B1E-7A21298C0C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3E4AA3-578C-3F5D-D5D9-E267511D8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D9E710-768F-3991-209C-B6C375B75E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8F4D3F-D2FC-9FA3-DEAF-93A60072E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7054757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AFBAA48-A9B8-DBB1-94F8-25DF50A5A29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695011-BD27-F4B5-F105-93D8834655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9B587-92DA-2D3C-07A5-8A989EC33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0FEC58-88C4-D5A2-D66A-83BCF4F66B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26E303-F399-6889-3877-3B5EC6D6C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580654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Placeholder_for_GS.png"/>
          <p:cNvSpPr>
            <a:spLocks noGrp="1"/>
          </p:cNvSpPr>
          <p:nvPr>
            <p:ph type="pic" idx="21"/>
          </p:nvPr>
        </p:nvSpPr>
        <p:spPr>
          <a:xfrm>
            <a:off x="5434235" y="-1506293"/>
            <a:ext cx="6757790" cy="675779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768566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Image"/>
          <p:cNvSpPr>
            <a:spLocks noGrp="1"/>
          </p:cNvSpPr>
          <p:nvPr>
            <p:ph type="pic" idx="21"/>
          </p:nvPr>
        </p:nvSpPr>
        <p:spPr>
          <a:xfrm>
            <a:off x="6283003" y="-2857500"/>
            <a:ext cx="9923860" cy="992386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lIns="91439" tIns="45719" rIns="91439" bIns="45719">
            <a:noAutofit/>
          </a:bodyPr>
          <a:lstStyle>
            <a:lvl1pPr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20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0743" y="6410432"/>
            <a:ext cx="218008" cy="379591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2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5416717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F5CE21-F3F2-D4B0-E112-18C8C15BE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E54A8A-772B-04AD-1D88-EBC0D9B18E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1C76B8-EDF7-B73A-7DDC-FDD17549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EE97A-E8FC-00E9-35F5-F3F5A50C5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B9D32A-E5EC-FD92-67B4-CF3F7563E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042188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AFB08-037B-6C52-81C1-7EBEA9973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834E2-3282-1BBB-A5F2-B825351BA1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A599AA-9FA8-A252-25A6-2BA735CB2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8C13D8-739E-9AAC-E531-E54B6DCA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3994E1-2982-5694-1AB7-45B079F3B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7993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7D00D-0F09-7840-F330-C53B546B1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AB4D3B-4EDA-77B8-2F1B-19630CBC06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3FCA75-1E1C-92AF-DAC9-48F44F9DBA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278920-4EF5-8AFE-4CCC-29FFA5A2EE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E336F-D3A6-6F15-1DC3-F103778E11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E40E07-21A1-0173-4C4D-3A37B33F9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745900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F61355-349E-6F5D-35A8-BC079217B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CB285E-409A-5CE8-0B23-ED6E2484B4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08D9CC-D9C8-56A0-A121-CE84890525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ECB99E-51D7-920E-72C1-C018E53409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95CF21-1975-7F7A-8C8A-250A7BA0B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C0AEAA-1496-4D07-0E44-00CA4515C8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F03C00-6631-0170-130C-71E5F4D2B7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4014B00-0607-A3E8-8441-C8F3B1422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38991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AA57DA-D00F-7766-2B7B-25B5E0781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E85606-46B3-E420-C784-37877BABB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F486AC-D033-8D7D-75EB-417978B84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789882-40EA-FD89-6488-8C4D9F45F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44681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41CAB1-2533-932D-5097-A2292279E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1ACD4C-6B05-70B1-2336-4DEE9144A1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D0A8AB-2248-82E8-E119-F925D2015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26709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34BFA-90ED-A335-34DF-3242D2D21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10AEB1-28F9-136C-766B-0974C3C496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1ED83D-1823-5BD1-2635-B3EA948416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942A3A-AEAA-ACDE-E5DA-6E1034C34E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DC032F-0DBC-4025-0B67-4C989278F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2DBE5A-7F40-EDCD-F660-C9269BCA9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1526342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69F14-88BE-0F11-7DEA-DB3888793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009D63A-2A99-0709-6E8F-EE8D12E49E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E6C5D4-E74A-9252-B280-99A8B5077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612854-D1E4-6E03-9E4F-17595595B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86577D-F9F2-A41C-1B37-9C5EFA1E3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954359-D3EC-23AC-C4EC-9414657DE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61383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D457D76-035D-A40D-79FD-1761704C8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F2A0A1-81E2-9C68-F903-7896F91938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B92D07-20C9-C565-7685-4F5A292C49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B96A3D-ADE5-4D33-85CE-06BDBC97A4AE}" type="datetimeFigureOut">
              <a:rPr lang="en-IE" smtClean="0"/>
              <a:t>09/08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D7593D-7710-661A-B741-C02FD3C59E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B1B690-632C-B884-C176-8BC1552F5E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55F5F8-054E-482F-BEB4-9FA98FE9EF35}" type="slidenum">
              <a:rPr lang="en-IE" smtClean="0"/>
              <a:t>‹Nº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02275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C8581CD2-069F-4AA9-A71E-79DE655AE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2672390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5" imgH="424" progId="TCLayout.ActiveDocument.1">
                  <p:embed/>
                </p:oleObj>
              </mc:Choice>
              <mc:Fallback>
                <p:oleObj name="Diapositiva de think-cell" r:id="rId5" imgW="425" imgH="42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C8581CD2-069F-4AA9-A71E-79DE655AE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5238750" cy="7175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Title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2124252"/>
            <a:ext cx="523875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236151" y="448725"/>
            <a:ext cx="448841" cy="37959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ctr" defTabSz="292100">
              <a:defRPr>
                <a:solidFill>
                  <a:srgbClr val="9F9A91"/>
                </a:solidFill>
                <a:latin typeface="Inconsolata Regular"/>
                <a:ea typeface="Inconsolata Regular"/>
                <a:cs typeface="Inconsolata Regular"/>
                <a:sym typeface="Inconsolata Regular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E773FC1-E2D1-4D09-AA25-5BABC59A64E4}"/>
              </a:ext>
            </a:extLst>
          </p:cNvPr>
          <p:cNvSpPr txBox="1"/>
          <p:nvPr userDrawn="1"/>
        </p:nvSpPr>
        <p:spPr>
          <a:xfrm>
            <a:off x="5489303" y="6628385"/>
            <a:ext cx="2304869" cy="1897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ctr" defTabSz="162555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900" b="0" i="1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Roboto"/>
                <a:ea typeface="Roboto"/>
                <a:cs typeface="Roboto"/>
                <a:sym typeface="Roboto"/>
              </a:rPr>
              <a:t>- To keep strictly confidential -</a:t>
            </a:r>
          </a:p>
        </p:txBody>
      </p:sp>
    </p:spTree>
    <p:extLst>
      <p:ext uri="{BB962C8B-B14F-4D97-AF65-F5344CB8AC3E}">
        <p14:creationId xmlns:p14="http://schemas.microsoft.com/office/powerpoint/2010/main" val="3612855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</p:sldLayoutIdLst>
  <p:transition spd="med"/>
  <p:txStyles>
    <p:titleStyle>
      <a:lvl1pPr marL="0" marR="0" indent="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5000" b="1" i="0" u="none" strike="noStrike" cap="none" spc="-750" baseline="0">
          <a:solidFill>
            <a:srgbClr val="000000"/>
          </a:solidFill>
          <a:uFillTx/>
          <a:latin typeface="+mn-lt"/>
          <a:ea typeface="+mn-ea"/>
          <a:cs typeface="+mn-cs"/>
          <a:sym typeface="Roboto Condensed"/>
        </a:defRPr>
      </a:lvl1pPr>
      <a:lvl2pPr marL="0" marR="0" indent="2286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5000" b="1" i="0" u="none" strike="noStrike" cap="none" spc="-750" baseline="0">
          <a:solidFill>
            <a:srgbClr val="000000"/>
          </a:solidFill>
          <a:uFillTx/>
          <a:latin typeface="+mn-lt"/>
          <a:ea typeface="+mn-ea"/>
          <a:cs typeface="+mn-cs"/>
          <a:sym typeface="Roboto Condensed"/>
        </a:defRPr>
      </a:lvl2pPr>
      <a:lvl3pPr marL="0" marR="0" indent="4572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5000" b="1" i="0" u="none" strike="noStrike" cap="none" spc="-750" baseline="0">
          <a:solidFill>
            <a:srgbClr val="000000"/>
          </a:solidFill>
          <a:uFillTx/>
          <a:latin typeface="+mn-lt"/>
          <a:ea typeface="+mn-ea"/>
          <a:cs typeface="+mn-cs"/>
          <a:sym typeface="Roboto Condensed"/>
        </a:defRPr>
      </a:lvl3pPr>
      <a:lvl4pPr marL="0" marR="0" indent="6858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5000" b="1" i="0" u="none" strike="noStrike" cap="none" spc="-750" baseline="0">
          <a:solidFill>
            <a:srgbClr val="000000"/>
          </a:solidFill>
          <a:uFillTx/>
          <a:latin typeface="+mn-lt"/>
          <a:ea typeface="+mn-ea"/>
          <a:cs typeface="+mn-cs"/>
          <a:sym typeface="Roboto Condensed"/>
        </a:defRPr>
      </a:lvl4pPr>
      <a:lvl5pPr marL="0" marR="0" indent="914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5000" b="1" i="0" u="none" strike="noStrike" cap="none" spc="-750" baseline="0">
          <a:solidFill>
            <a:srgbClr val="000000"/>
          </a:solidFill>
          <a:uFillTx/>
          <a:latin typeface="+mn-lt"/>
          <a:ea typeface="+mn-ea"/>
          <a:cs typeface="+mn-cs"/>
          <a:sym typeface="Roboto Condensed"/>
        </a:defRPr>
      </a:lvl5pPr>
      <a:lvl6pPr marL="0" marR="0" indent="11430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5000" b="1" i="0" u="none" strike="noStrike" cap="none" spc="-750" baseline="0">
          <a:solidFill>
            <a:srgbClr val="000000"/>
          </a:solidFill>
          <a:uFillTx/>
          <a:latin typeface="+mn-lt"/>
          <a:ea typeface="+mn-ea"/>
          <a:cs typeface="+mn-cs"/>
          <a:sym typeface="Roboto Condensed"/>
        </a:defRPr>
      </a:lvl6pPr>
      <a:lvl7pPr marL="0" marR="0" indent="13716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5000" b="1" i="0" u="none" strike="noStrike" cap="none" spc="-750" baseline="0">
          <a:solidFill>
            <a:srgbClr val="000000"/>
          </a:solidFill>
          <a:uFillTx/>
          <a:latin typeface="+mn-lt"/>
          <a:ea typeface="+mn-ea"/>
          <a:cs typeface="+mn-cs"/>
          <a:sym typeface="Roboto Condensed"/>
        </a:defRPr>
      </a:lvl7pPr>
      <a:lvl8pPr marL="0" marR="0" indent="16002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5000" b="1" i="0" u="none" strike="noStrike" cap="none" spc="-750" baseline="0">
          <a:solidFill>
            <a:srgbClr val="000000"/>
          </a:solidFill>
          <a:uFillTx/>
          <a:latin typeface="+mn-lt"/>
          <a:ea typeface="+mn-ea"/>
          <a:cs typeface="+mn-cs"/>
          <a:sym typeface="Roboto Condensed"/>
        </a:defRPr>
      </a:lvl8pPr>
      <a:lvl9pPr marL="0" marR="0" indent="18288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5000" b="1" i="0" u="none" strike="noStrike" cap="none" spc="-750" baseline="0">
          <a:solidFill>
            <a:srgbClr val="000000"/>
          </a:solidFill>
          <a:uFillTx/>
          <a:latin typeface="+mn-lt"/>
          <a:ea typeface="+mn-ea"/>
          <a:cs typeface="+mn-cs"/>
          <a:sym typeface="Roboto Condensed"/>
        </a:defRPr>
      </a:lvl9pPr>
    </p:titleStyle>
    <p:bodyStyle>
      <a:lvl1pPr marL="533400" marR="0" indent="-533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Pct val="123000"/>
        <a:buFontTx/>
        <a:buChar char="•"/>
        <a:tabLst/>
        <a:defRPr sz="4200" b="0" i="0" u="none" strike="noStrike" cap="none" spc="0" baseline="0">
          <a:solidFill>
            <a:schemeClr val="accent4">
              <a:hueOff val="8652731"/>
              <a:satOff val="-49454"/>
              <a:lumOff val="-42111"/>
            </a:schemeClr>
          </a:solidFill>
          <a:uFillTx/>
          <a:latin typeface="+mn-lt"/>
          <a:ea typeface="+mn-ea"/>
          <a:cs typeface="+mn-cs"/>
          <a:sym typeface="Roboto Condensed"/>
        </a:defRPr>
      </a:lvl1pPr>
      <a:lvl2pPr marL="838200" marR="0" indent="-533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Pct val="123000"/>
        <a:buFontTx/>
        <a:buChar char="•"/>
        <a:tabLst/>
        <a:defRPr sz="4200" b="0" i="0" u="none" strike="noStrike" cap="none" spc="0" baseline="0">
          <a:solidFill>
            <a:schemeClr val="accent4">
              <a:hueOff val="8652731"/>
              <a:satOff val="-49454"/>
              <a:lumOff val="-42111"/>
            </a:schemeClr>
          </a:solidFill>
          <a:uFillTx/>
          <a:latin typeface="+mn-lt"/>
          <a:ea typeface="+mn-ea"/>
          <a:cs typeface="+mn-cs"/>
          <a:sym typeface="Roboto Condensed"/>
        </a:defRPr>
      </a:lvl2pPr>
      <a:lvl3pPr marL="1143000" marR="0" indent="-533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Pct val="123000"/>
        <a:buFontTx/>
        <a:buChar char="•"/>
        <a:tabLst/>
        <a:defRPr sz="4200" b="0" i="0" u="none" strike="noStrike" cap="none" spc="0" baseline="0">
          <a:solidFill>
            <a:schemeClr val="accent4">
              <a:hueOff val="8652731"/>
              <a:satOff val="-49454"/>
              <a:lumOff val="-42111"/>
            </a:schemeClr>
          </a:solidFill>
          <a:uFillTx/>
          <a:latin typeface="+mn-lt"/>
          <a:ea typeface="+mn-ea"/>
          <a:cs typeface="+mn-cs"/>
          <a:sym typeface="Roboto Condensed"/>
        </a:defRPr>
      </a:lvl3pPr>
      <a:lvl4pPr marL="1447800" marR="0" indent="-533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Pct val="123000"/>
        <a:buFontTx/>
        <a:buChar char="•"/>
        <a:tabLst/>
        <a:defRPr sz="4200" b="0" i="0" u="none" strike="noStrike" cap="none" spc="0" baseline="0">
          <a:solidFill>
            <a:schemeClr val="accent4">
              <a:hueOff val="8652731"/>
              <a:satOff val="-49454"/>
              <a:lumOff val="-42111"/>
            </a:schemeClr>
          </a:solidFill>
          <a:uFillTx/>
          <a:latin typeface="+mn-lt"/>
          <a:ea typeface="+mn-ea"/>
          <a:cs typeface="+mn-cs"/>
          <a:sym typeface="Roboto Condensed"/>
        </a:defRPr>
      </a:lvl4pPr>
      <a:lvl5pPr marL="1752600" marR="0" indent="-533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Pct val="123000"/>
        <a:buFontTx/>
        <a:buChar char="•"/>
        <a:tabLst/>
        <a:defRPr sz="4200" b="0" i="0" u="none" strike="noStrike" cap="none" spc="0" baseline="0">
          <a:solidFill>
            <a:schemeClr val="accent4">
              <a:hueOff val="8652731"/>
              <a:satOff val="-49454"/>
              <a:lumOff val="-42111"/>
            </a:schemeClr>
          </a:solidFill>
          <a:uFillTx/>
          <a:latin typeface="+mn-lt"/>
          <a:ea typeface="+mn-ea"/>
          <a:cs typeface="+mn-cs"/>
          <a:sym typeface="Roboto Condensed"/>
        </a:defRPr>
      </a:lvl5pPr>
      <a:lvl6pPr marL="2057400" marR="0" indent="-533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Pct val="123000"/>
        <a:buFontTx/>
        <a:buChar char="•"/>
        <a:tabLst/>
        <a:defRPr sz="4200" b="0" i="0" u="none" strike="noStrike" cap="none" spc="0" baseline="0">
          <a:solidFill>
            <a:schemeClr val="accent4">
              <a:hueOff val="8652731"/>
              <a:satOff val="-49454"/>
              <a:lumOff val="-42111"/>
            </a:schemeClr>
          </a:solidFill>
          <a:uFillTx/>
          <a:latin typeface="+mn-lt"/>
          <a:ea typeface="+mn-ea"/>
          <a:cs typeface="+mn-cs"/>
          <a:sym typeface="Roboto Condensed"/>
        </a:defRPr>
      </a:lvl6pPr>
      <a:lvl7pPr marL="2362200" marR="0" indent="-533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Pct val="123000"/>
        <a:buFontTx/>
        <a:buChar char="•"/>
        <a:tabLst/>
        <a:defRPr sz="4200" b="0" i="0" u="none" strike="noStrike" cap="none" spc="0" baseline="0">
          <a:solidFill>
            <a:schemeClr val="accent4">
              <a:hueOff val="8652731"/>
              <a:satOff val="-49454"/>
              <a:lumOff val="-42111"/>
            </a:schemeClr>
          </a:solidFill>
          <a:uFillTx/>
          <a:latin typeface="+mn-lt"/>
          <a:ea typeface="+mn-ea"/>
          <a:cs typeface="+mn-cs"/>
          <a:sym typeface="Roboto Condensed"/>
        </a:defRPr>
      </a:lvl7pPr>
      <a:lvl8pPr marL="2667000" marR="0" indent="-533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Pct val="123000"/>
        <a:buFontTx/>
        <a:buChar char="•"/>
        <a:tabLst/>
        <a:defRPr sz="4200" b="0" i="0" u="none" strike="noStrike" cap="none" spc="0" baseline="0">
          <a:solidFill>
            <a:schemeClr val="accent4">
              <a:hueOff val="8652731"/>
              <a:satOff val="-49454"/>
              <a:lumOff val="-42111"/>
            </a:schemeClr>
          </a:solidFill>
          <a:uFillTx/>
          <a:latin typeface="+mn-lt"/>
          <a:ea typeface="+mn-ea"/>
          <a:cs typeface="+mn-cs"/>
          <a:sym typeface="Roboto Condensed"/>
        </a:defRPr>
      </a:lvl8pPr>
      <a:lvl9pPr marL="2971800" marR="0" indent="-533400" algn="l" defTabSz="1625559" rtl="0" latinLnBrk="0">
        <a:lnSpc>
          <a:spcPct val="90000"/>
        </a:lnSpc>
        <a:spcBef>
          <a:spcPts val="0"/>
        </a:spcBef>
        <a:spcAft>
          <a:spcPts val="0"/>
        </a:spcAft>
        <a:buClrTx/>
        <a:buSzPct val="123000"/>
        <a:buFontTx/>
        <a:buChar char="•"/>
        <a:tabLst/>
        <a:defRPr sz="4200" b="0" i="0" u="none" strike="noStrike" cap="none" spc="0" baseline="0">
          <a:solidFill>
            <a:schemeClr val="accent4">
              <a:hueOff val="8652731"/>
              <a:satOff val="-49454"/>
              <a:lumOff val="-42111"/>
            </a:schemeClr>
          </a:solidFill>
          <a:uFillTx/>
          <a:latin typeface="+mn-lt"/>
          <a:ea typeface="+mn-ea"/>
          <a:cs typeface="+mn-cs"/>
          <a:sym typeface="Roboto Condensed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consolata Regular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consolata Regular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consolata Regular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consolata Regular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consolata Regular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consolata Regular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consolata Regular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consolata Regular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consolata Regular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roblem &amp; Solutions">
            <a:extLst>
              <a:ext uri="{FF2B5EF4-FFF2-40B4-BE49-F238E27FC236}">
                <a16:creationId xmlns:a16="http://schemas.microsoft.com/office/drawing/2014/main" id="{195E0FA2-626F-4C01-910D-69244AF8D3F3}"/>
              </a:ext>
            </a:extLst>
          </p:cNvPr>
          <p:cNvSpPr txBox="1"/>
          <p:nvPr/>
        </p:nvSpPr>
        <p:spPr>
          <a:xfrm>
            <a:off x="4548526" y="3316010"/>
            <a:ext cx="3761670" cy="355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>
              <a:lnSpc>
                <a:spcPct val="90000"/>
              </a:lnSpc>
              <a:defRPr sz="8400" b="1">
                <a:solidFill>
                  <a:schemeClr val="accent4">
                    <a:hueOff val="8652731"/>
                    <a:satOff val="-49454"/>
                    <a:lumOff val="-42111"/>
                  </a:schemeClr>
                </a:solidFill>
                <a:latin typeface="+mn-lt"/>
                <a:ea typeface="+mn-ea"/>
                <a:cs typeface="+mn-cs"/>
                <a:sym typeface="Roboto Condensed"/>
              </a:defRPr>
            </a:lvl1pPr>
          </a:lstStyle>
          <a:p>
            <a:pPr defTabSz="1625559" hangingPunct="0"/>
            <a:r>
              <a:rPr lang="en-US" sz="2200" i="1" kern="0" dirty="0">
                <a:solidFill>
                  <a:srgbClr val="00A2FF">
                    <a:lumMod val="50000"/>
                  </a:srgbClr>
                </a:solidFill>
                <a:latin typeface="Roboto Condensed"/>
                <a:ea typeface="Roboto Condensed"/>
              </a:rPr>
              <a:t>Improving the access to medicine</a:t>
            </a:r>
            <a:endParaRPr lang="en-US" sz="2200" i="1" kern="0" dirty="0">
              <a:solidFill>
                <a:srgbClr val="E38661"/>
              </a:solidFill>
              <a:latin typeface="Roboto Condensed"/>
              <a:ea typeface="Roboto Condensed"/>
            </a:endParaRPr>
          </a:p>
        </p:txBody>
      </p:sp>
      <p:sp>
        <p:nvSpPr>
          <p:cNvPr id="6" name="Gether">
            <a:extLst>
              <a:ext uri="{FF2B5EF4-FFF2-40B4-BE49-F238E27FC236}">
                <a16:creationId xmlns:a16="http://schemas.microsoft.com/office/drawing/2014/main" id="{BB5F0BE2-3969-44A4-9A9E-107612AD2AEA}"/>
              </a:ext>
            </a:extLst>
          </p:cNvPr>
          <p:cNvSpPr txBox="1"/>
          <p:nvPr/>
        </p:nvSpPr>
        <p:spPr>
          <a:xfrm>
            <a:off x="3763341" y="2646340"/>
            <a:ext cx="5138875" cy="8476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>
              <a:lnSpc>
                <a:spcPct val="90000"/>
              </a:lnSpc>
              <a:defRPr sz="30000" b="1" spc="-1500">
                <a:solidFill>
                  <a:schemeClr val="accent5">
                    <a:hueOff val="581849"/>
                    <a:satOff val="-29872"/>
                    <a:lumOff val="-1690"/>
                  </a:schemeClr>
                </a:solidFill>
                <a:latin typeface="+mn-lt"/>
                <a:ea typeface="+mn-ea"/>
                <a:cs typeface="+mn-cs"/>
                <a:sym typeface="Roboto Condensed"/>
              </a:defRPr>
            </a:lvl1pPr>
          </a:lstStyle>
          <a:p>
            <a:pPr defTabSz="1625559" hangingPunct="0"/>
            <a:r>
              <a:rPr lang="es-ES" sz="5750" kern="0" spc="0" dirty="0">
                <a:solidFill>
                  <a:srgbClr val="00A2FF">
                    <a:lumMod val="50000"/>
                  </a:srgbClr>
                </a:solidFill>
                <a:latin typeface="Roboto Condensed"/>
                <a:ea typeface="Roboto Condensed"/>
              </a:rPr>
              <a:t>C</a:t>
            </a:r>
            <a:r>
              <a:rPr lang="es-ES" sz="5750" kern="0" spc="0" dirty="0">
                <a:solidFill>
                  <a:srgbClr val="E38661"/>
                </a:solidFill>
                <a:latin typeface="Roboto Condensed"/>
                <a:ea typeface="Roboto Condensed"/>
              </a:rPr>
              <a:t>API</a:t>
            </a:r>
            <a:r>
              <a:rPr lang="es-ES" sz="5750" kern="0" spc="0" dirty="0">
                <a:solidFill>
                  <a:srgbClr val="00A2FF">
                    <a:lumMod val="50000"/>
                  </a:srgbClr>
                </a:solidFill>
                <a:latin typeface="Roboto Condensed"/>
                <a:ea typeface="Roboto Condensed"/>
              </a:rPr>
              <a:t>TAL</a:t>
            </a:r>
            <a:r>
              <a:rPr lang="es-ES" sz="5750" kern="0" spc="0" dirty="0">
                <a:solidFill>
                  <a:srgbClr val="00A2FF">
                    <a:lumMod val="50000"/>
                  </a:srgbClr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r>
              <a:rPr lang="es-ES" sz="5750" kern="0" spc="0" dirty="0">
                <a:solidFill>
                  <a:srgbClr val="00A2FF">
                    <a:lumMod val="50000"/>
                  </a:srgbClr>
                </a:solidFill>
                <a:latin typeface="Roboto Condensed"/>
                <a:ea typeface="Roboto Condensed"/>
              </a:rPr>
              <a:t>FARMA</a:t>
            </a:r>
            <a:endParaRPr sz="5750" kern="0" spc="0" dirty="0">
              <a:solidFill>
                <a:srgbClr val="00A2FF">
                  <a:lumMod val="50000"/>
                </a:srgbClr>
              </a:solidFill>
              <a:latin typeface="Roboto Condensed"/>
              <a:ea typeface="Roboto Condensed"/>
            </a:endParaRPr>
          </a:p>
        </p:txBody>
      </p:sp>
      <p:graphicFrame>
        <p:nvGraphicFramePr>
          <p:cNvPr id="7" name="Objeto 6">
            <a:extLst>
              <a:ext uri="{FF2B5EF4-FFF2-40B4-BE49-F238E27FC236}">
                <a16:creationId xmlns:a16="http://schemas.microsoft.com/office/drawing/2014/main" id="{7F7E5DFD-E030-434E-AE12-DDF8902FCC4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45879018"/>
              </p:ext>
            </p:extLst>
          </p:nvPr>
        </p:nvGraphicFramePr>
        <p:xfrm>
          <a:off x="5723930" y="1584961"/>
          <a:ext cx="1217695" cy="1142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n de mapa de bits" r:id="rId2" imgW="2044800" imgH="1917720" progId="Paint.Picture">
                  <p:embed/>
                </p:oleObj>
              </mc:Choice>
              <mc:Fallback>
                <p:oleObj name="Imagen de mapa de bits" r:id="rId2" imgW="2044800" imgH="1917720" progId="Paint.Picture">
                  <p:embed/>
                  <p:pic>
                    <p:nvPicPr>
                      <p:cNvPr id="7" name="Objeto 6">
                        <a:extLst>
                          <a:ext uri="{FF2B5EF4-FFF2-40B4-BE49-F238E27FC236}">
                            <a16:creationId xmlns:a16="http://schemas.microsoft.com/office/drawing/2014/main" id="{7F7E5DFD-E030-434E-AE12-DDF8902FC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723930" y="1584961"/>
                        <a:ext cx="1217695" cy="1142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787A79"/>
      </a:dk1>
      <a:lt1>
        <a:srgbClr val="7A023E"/>
      </a:lt1>
      <a:dk2>
        <a:srgbClr val="C0C0C0"/>
      </a:dk2>
      <a:lt2>
        <a:srgbClr val="E6E6E6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Roboto Condensed"/>
        <a:ea typeface="Roboto Condensed"/>
        <a:cs typeface="Roboto Condensed"/>
      </a:majorFont>
      <a:minorFont>
        <a:latin typeface="Roboto Condensed"/>
        <a:ea typeface="Roboto Condensed"/>
        <a:cs typeface="Roboto Condensed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hueOff val="5552904"/>
            <a:satOff val="-93186"/>
            <a:lumOff val="28184"/>
          </a:schemeClr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325111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000" b="0" i="0" u="none" strike="noStrike" cap="none" spc="0" normalizeH="0" baseline="0">
            <a:ln>
              <a:noFill/>
            </a:ln>
            <a:solidFill>
              <a:srgbClr val="787A79"/>
            </a:solidFill>
            <a:effectLst/>
            <a:uFillTx/>
            <a:latin typeface="Roboto"/>
            <a:ea typeface="Roboto"/>
            <a:cs typeface="Roboto"/>
            <a:sym typeface="Roboto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78B4FC3B5EDC04FA41B9179631353A0" ma:contentTypeVersion="18" ma:contentTypeDescription="Crear nuevo documento." ma:contentTypeScope="" ma:versionID="c50ba20678b6eba0b66ed89d3e58dcb1">
  <xsd:schema xmlns:xsd="http://www.w3.org/2001/XMLSchema" xmlns:xs="http://www.w3.org/2001/XMLSchema" xmlns:p="http://schemas.microsoft.com/office/2006/metadata/properties" xmlns:ns2="fefe0289-3266-4623-91f4-085b0139a8cb" xmlns:ns3="06090949-8f81-4278-b4c5-5b2ce9beefb5" targetNamespace="http://schemas.microsoft.com/office/2006/metadata/properties" ma:root="true" ma:fieldsID="d800fb373ab673450700a9e104d8e2d1" ns2:_="" ns3:_="">
    <xsd:import namespace="fefe0289-3266-4623-91f4-085b0139a8cb"/>
    <xsd:import namespace="06090949-8f81-4278-b4c5-5b2ce9beefb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2:TaxCatchAll" minOccurs="0"/>
                <xsd:element ref="ns3:MediaServiceLocation" minOccurs="0"/>
                <xsd:element ref="ns3:MediaServiceObjectDetectorVersions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fe0289-3266-4623-91f4-085b0139a8c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5fe9185a-5d75-4ca8-9160-0d628bc9078e}" ma:internalName="TaxCatchAll" ma:showField="CatchAllData" ma:web="fefe0289-3266-4623-91f4-085b0139a8c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090949-8f81-4278-b4c5-5b2ce9beef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Etiquetas de imagen" ma:readOnly="false" ma:fieldId="{5cf76f15-5ced-4ddc-b409-7134ff3c332f}" ma:taxonomyMulti="true" ma:sspId="dc773f5e-fae8-4c63-9b24-69d95fee71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6A8C28-F982-4C4A-A6F1-4B9AB031CDE3}"/>
</file>

<file path=customXml/itemProps2.xml><?xml version="1.0" encoding="utf-8"?>
<ds:datastoreItem xmlns:ds="http://schemas.openxmlformats.org/officeDocument/2006/customXml" ds:itemID="{D9067C8C-B79A-42A3-B64A-684D6B80E071}"/>
</file>

<file path=docProps/app.xml><?xml version="1.0" encoding="utf-8"?>
<Properties xmlns="http://schemas.openxmlformats.org/officeDocument/2006/extended-properties" xmlns:vt="http://schemas.openxmlformats.org/officeDocument/2006/docPropsVTypes">
  <TotalTime>346</TotalTime>
  <Words>7</Words>
  <Application>Microsoft Office PowerPoint</Application>
  <PresentationFormat>Panorámica</PresentationFormat>
  <Paragraphs>2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</vt:i4>
      </vt:variant>
    </vt:vector>
  </HeadingPairs>
  <TitlesOfParts>
    <vt:vector size="12" baseType="lpstr">
      <vt:lpstr>Arial</vt:lpstr>
      <vt:lpstr>Calibri</vt:lpstr>
      <vt:lpstr>Calibri Light</vt:lpstr>
      <vt:lpstr>Inconsolata Regular</vt:lpstr>
      <vt:lpstr>Roboto</vt:lpstr>
      <vt:lpstr>Roboto Condensed</vt:lpstr>
      <vt:lpstr>Roboto Medium</vt:lpstr>
      <vt:lpstr>Office Theme</vt:lpstr>
      <vt:lpstr>21_BasicWhite</vt:lpstr>
      <vt:lpstr>Diapositiva de think-cell</vt:lpstr>
      <vt:lpstr>Imagen de mapa de bits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nah Gargan</dc:creator>
  <cp:lastModifiedBy>Magda Ramos</cp:lastModifiedBy>
  <cp:revision>4</cp:revision>
  <dcterms:created xsi:type="dcterms:W3CDTF">2022-10-06T10:29:13Z</dcterms:created>
  <dcterms:modified xsi:type="dcterms:W3CDTF">2023-08-09T08:41:53Z</dcterms:modified>
</cp:coreProperties>
</file>